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C60018"/>
    <a:srgbClr val="8D8D8D"/>
    <a:srgbClr val="5A5A5A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7:50.853" v="31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27:50.853" v="31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A4CFA2F4-FF8D-446B-B271-6DF568DBEADA}" dt="2026-01-23T14:32:58.528" v="1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23T14:45:27.477" v="28" actId="14100"/>
          <ac:spMkLst>
            <pc:docMk/>
            <pc:sldMk cId="3808035539" sldId="270"/>
            <ac:spMk id="12" creationId="{5951AA1F-1F78-4199-A377-9885C86C21A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41496303567492"/>
          <c:y val="3.711401967995117E-2"/>
          <c:w val="0.76707882778699366"/>
          <c:h val="0.882122802107782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I$2</c:f>
              <c:strCache>
                <c:ptCount val="1"/>
                <c:pt idx="0">
                  <c:v>Wert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4ED7-4664-9332-5D1E4B5B494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ED7-4664-9332-5D1E4B5B494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ED7-4664-9332-5D1E4B5B494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ED7-4664-9332-5D1E4B5B494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ED7-4664-9332-5D1E4B5B494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ED7-4664-9332-5D1E4B5B494A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ED7-4664-9332-5D1E4B5B494A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ED7-4664-9332-5D1E4B5B494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ED7-4664-9332-5D1E4B5B494A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ED7-4664-9332-5D1E4B5B494A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ED7-4664-9332-5D1E4B5B494A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9D1-4637-85BC-0EAF17287C5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C-8B74-4E16-8ABD-94493A233CF0}"/>
              </c:ext>
            </c:extLst>
          </c:dPt>
          <c:cat>
            <c:strRef>
              <c:f>data!$H$3:$H$17</c:f>
              <c:strCache>
                <c:ptCount val="15"/>
                <c:pt idx="0">
                  <c:v>SZDC (CZ)</c:v>
                </c:pt>
                <c:pt idx="1">
                  <c:v>Network Rail (GB)</c:v>
                </c:pt>
                <c:pt idx="2">
                  <c:v>OSE (GR)</c:v>
                </c:pt>
                <c:pt idx="3">
                  <c:v>SNCF Réseau (FR)</c:v>
                </c:pt>
                <c:pt idx="4">
                  <c:v>FTA (FI)</c:v>
                </c:pt>
                <c:pt idx="5">
                  <c:v>DB AG (DE)</c:v>
                </c:pt>
                <c:pt idx="6">
                  <c:v>PKP (PL)</c:v>
                </c:pt>
                <c:pt idx="7">
                  <c:v>ADIF (ES)</c:v>
                </c:pt>
                <c:pt idx="8">
                  <c:v>FS (IT)</c:v>
                </c:pt>
                <c:pt idx="9">
                  <c:v>ProRail (NL)</c:v>
                </c:pt>
                <c:pt idx="10">
                  <c:v>ÖBB (AT)</c:v>
                </c:pt>
                <c:pt idx="11">
                  <c:v>Trafikverket (SE)</c:v>
                </c:pt>
                <c:pt idx="12">
                  <c:v>Infrabel (BE)</c:v>
                </c:pt>
                <c:pt idx="13">
                  <c:v>CFL (LU)</c:v>
                </c:pt>
                <c:pt idx="14">
                  <c:v>SBB (CH)</c:v>
                </c:pt>
              </c:strCache>
            </c:strRef>
          </c:cat>
          <c:val>
            <c:numRef>
              <c:f>data!$I$3:$I$17</c:f>
              <c:numCache>
                <c:formatCode>0.0</c:formatCode>
                <c:ptCount val="15"/>
                <c:pt idx="0">
                  <c:v>34.987699219167801</c:v>
                </c:pt>
                <c:pt idx="1">
                  <c:v>39.096103229119898</c:v>
                </c:pt>
                <c:pt idx="2">
                  <c:v>40.594059405940598</c:v>
                </c:pt>
                <c:pt idx="3">
                  <c:v>59.333998595557503</c:v>
                </c:pt>
                <c:pt idx="4">
                  <c:v>61.453930684699898</c:v>
                </c:pt>
                <c:pt idx="5">
                  <c:v>62.348407909671998</c:v>
                </c:pt>
                <c:pt idx="6">
                  <c:v>64.407859798194394</c:v>
                </c:pt>
                <c:pt idx="7">
                  <c:v>66.898754391568204</c:v>
                </c:pt>
                <c:pt idx="8">
                  <c:v>71.222345802094196</c:v>
                </c:pt>
                <c:pt idx="9">
                  <c:v>74.547846103255495</c:v>
                </c:pt>
                <c:pt idx="10">
                  <c:v>75.089677162216006</c:v>
                </c:pt>
                <c:pt idx="11">
                  <c:v>83.305853256389099</c:v>
                </c:pt>
                <c:pt idx="12">
                  <c:v>88.833746898263001</c:v>
                </c:pt>
                <c:pt idx="13">
                  <c:v>96.678966789667896</c:v>
                </c:pt>
                <c:pt idx="14">
                  <c:v>99.978018378227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5"/>
        <c:dispUnits>
          <c:builtInUnit val="hundreds"/>
        </c:dispUnits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E3096D-63F5-415F-B8E4-765C23175D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E3096D-63F5-415F-B8E4-765C23175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8AAF2B3-9DD3-4BE3-8383-7A2141055A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eckennetzelektrifizierung in Europa im 2024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691896173"/>
              </p:ext>
            </p:extLst>
          </p:nvPr>
        </p:nvGraphicFramePr>
        <p:xfrm>
          <a:off x="502919" y="1619249"/>
          <a:ext cx="10201593" cy="4257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C872468D-648C-44F5-8DF7-75B41720E3E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nteil der elektrifizierten Strecken am Total der Strecken eines Infrastrukturbetreiber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951AA1F-1F78-4199-A377-9885C86C21AF}"/>
              </a:ext>
            </a:extLst>
          </p:cNvPr>
          <p:cNvSpPr txBox="1"/>
          <p:nvPr/>
        </p:nvSpPr>
        <p:spPr>
          <a:xfrm rot="16200000">
            <a:off x="9946592" y="4287651"/>
            <a:ext cx="3266312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vl="0">
              <a:defRPr/>
            </a:pP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Quellen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: UIC, </a:t>
            </a: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</a:t>
            </a:r>
            <a:r>
              <a:rPr lang="fr-FR" sz="900" kern="0" dirty="0">
                <a:solidFill>
                  <a:srgbClr val="444444"/>
                </a:solidFill>
              </a:rPr>
              <a:t>SNCF Réseau, </a:t>
            </a:r>
            <a:r>
              <a:rPr lang="fr-FR" sz="900" kern="0" dirty="0" err="1">
                <a:solidFill>
                  <a:srgbClr val="444444"/>
                </a:solidFill>
              </a:rPr>
              <a:t>ProRail</a:t>
            </a:r>
            <a:r>
              <a:rPr lang="fr-FR" sz="900" kern="0" dirty="0">
                <a:solidFill>
                  <a:srgbClr val="444444"/>
                </a:solidFill>
              </a:rPr>
              <a:t>, </a:t>
            </a:r>
            <a:r>
              <a:rPr lang="fr-FR" sz="900" kern="0" dirty="0" err="1">
                <a:solidFill>
                  <a:srgbClr val="444444"/>
                </a:solidFill>
              </a:rPr>
              <a:t>Infrabel</a:t>
            </a:r>
            <a:r>
              <a:rPr lang="fr-FR" sz="900" kern="0" dirty="0">
                <a:solidFill>
                  <a:srgbClr val="444444"/>
                </a:solidFill>
              </a:rPr>
              <a:t>, CFL: 2023.</a:t>
            </a:r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29F12DD-D362-4327-A51F-7014752C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08035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smfMoRi26Np7Rn4kh2w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F236581-F1AF-4FCF-B9F9-5F7B412B9E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2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treckennetzelektrifizierung in Europa im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ckennetzelektrifizierung in Europa im 2023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1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